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3"/>
  </p:notesMasterIdLst>
  <p:handoutMasterIdLst>
    <p:handoutMasterId r:id="rId24"/>
  </p:handoutMasterIdLst>
  <p:sldIdLst>
    <p:sldId id="430" r:id="rId2"/>
    <p:sldId id="431" r:id="rId3"/>
    <p:sldId id="311" r:id="rId4"/>
    <p:sldId id="443" r:id="rId5"/>
    <p:sldId id="440" r:id="rId6"/>
    <p:sldId id="432" r:id="rId7"/>
    <p:sldId id="448" r:id="rId8"/>
    <p:sldId id="441" r:id="rId9"/>
    <p:sldId id="444" r:id="rId10"/>
    <p:sldId id="439" r:id="rId11"/>
    <p:sldId id="442" r:id="rId12"/>
    <p:sldId id="433" r:id="rId13"/>
    <p:sldId id="434" r:id="rId14"/>
    <p:sldId id="435" r:id="rId15"/>
    <p:sldId id="438" r:id="rId16"/>
    <p:sldId id="436" r:id="rId17"/>
    <p:sldId id="437" r:id="rId18"/>
    <p:sldId id="445" r:id="rId19"/>
    <p:sldId id="446" r:id="rId20"/>
    <p:sldId id="447" r:id="rId21"/>
    <p:sldId id="429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1E42"/>
    <a:srgbClr val="000000"/>
    <a:srgbClr val="043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3" autoAdjust="0"/>
    <p:restoredTop sz="93557" autoAdjust="0"/>
  </p:normalViewPr>
  <p:slideViewPr>
    <p:cSldViewPr snapToGrid="0" showGuides="1">
      <p:cViewPr>
        <p:scale>
          <a:sx n="100" d="100"/>
          <a:sy n="100" d="100"/>
        </p:scale>
        <p:origin x="936" y="396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EFB5F41-C01C-6051-8A06-9DEE41BA05FC}"/>
              </a:ext>
            </a:extLst>
          </p:cNvPr>
          <p:cNvSpPr txBox="1"/>
          <p:nvPr/>
        </p:nvSpPr>
        <p:spPr>
          <a:xfrm rot="20850059">
            <a:off x="1932625" y="3301331"/>
            <a:ext cx="8191500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dirty="0" err="1">
                <a:solidFill>
                  <a:prstClr val="black"/>
                </a:solidFill>
                <a:latin typeface="Arial"/>
              </a:rPr>
              <a:t>Vlt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zu Beginn kurz was zu unserer Literaturrecherche, der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Searchstr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die Tabelle und die Konzeptmatrix :D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4718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1817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5937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4</Words>
  <Application>Microsoft Office PowerPoint</Application>
  <PresentationFormat>Breitbild</PresentationFormat>
  <Paragraphs>222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PowerPoint-Präsentation</vt:lpstr>
      <vt:lpstr>2. Stand der Wissenschaft</vt:lpstr>
      <vt:lpstr>PowerPoint-Präsentation</vt:lpstr>
      <vt:lpstr>PowerPoint-Präsentation</vt:lpstr>
      <vt:lpstr>3. Forschungsfrage</vt:lpstr>
      <vt:lpstr>PowerPoint-Präsentatio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5T15:10:18Z</dcterms:modified>
</cp:coreProperties>
</file>